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1"/>
  </p:notesMasterIdLst>
  <p:handoutMasterIdLst>
    <p:handoutMasterId r:id="rId22"/>
  </p:handoutMasterIdLst>
  <p:sldIdLst>
    <p:sldId id="295" r:id="rId2"/>
    <p:sldId id="378" r:id="rId3"/>
    <p:sldId id="379" r:id="rId4"/>
    <p:sldId id="380" r:id="rId5"/>
    <p:sldId id="382" r:id="rId6"/>
    <p:sldId id="381" r:id="rId7"/>
    <p:sldId id="383" r:id="rId8"/>
    <p:sldId id="384" r:id="rId9"/>
    <p:sldId id="322" r:id="rId10"/>
    <p:sldId id="323" r:id="rId11"/>
    <p:sldId id="324" r:id="rId12"/>
    <p:sldId id="325" r:id="rId13"/>
    <p:sldId id="326" r:id="rId14"/>
    <p:sldId id="327" r:id="rId15"/>
    <p:sldId id="332" r:id="rId16"/>
    <p:sldId id="335" r:id="rId17"/>
    <p:sldId id="337" r:id="rId18"/>
    <p:sldId id="377" r:id="rId19"/>
    <p:sldId id="368" r:id="rId20"/>
  </p:sldIdLst>
  <p:sldSz cx="9904413" cy="6859588"/>
  <p:notesSz cx="6797675" cy="9874250"/>
  <p:custDataLst>
    <p:tags r:id="rId23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37" autoAdjust="0"/>
    <p:restoredTop sz="98993" autoAdjust="0"/>
  </p:normalViewPr>
  <p:slideViewPr>
    <p:cSldViewPr snapToObjects="1" showGuides="1">
      <p:cViewPr>
        <p:scale>
          <a:sx n="119" d="100"/>
          <a:sy n="119" d="100"/>
        </p:scale>
        <p:origin x="1192" y="440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3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6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6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6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6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6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82291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6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82291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8</a:t>
            </a: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82291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9</a:t>
            </a:r>
          </a:p>
        </p:txBody>
      </p:sp>
      <p:sp>
        <p:nvSpPr>
          <p:cNvPr id="21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82291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10</a:t>
            </a:r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082291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ways of showing major points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6875" y="1376363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4175" y="2567332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4175" y="3758301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4175" y="4949270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100262" y="2561462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100262" y="3758301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100262" y="4949270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401341" y="1375569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Text Placeholder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01341" y="2561462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3" name="Text Placeholder 2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401341" y="3758301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401341" y="4949270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2100262" y="1375569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major points with chevron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gray">
          <a:xfrm>
            <a:off x="396875" y="1376363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 bwMode="auto">
          <a:xfrm>
            <a:off x="2100263" y="1375569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2100263" y="2561462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2100263" y="3758301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2100263" y="4949270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5401340" y="1375569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5401340" y="2561462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5401340" y="3758301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5401340" y="4949270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gray">
          <a:xfrm>
            <a:off x="396875" y="2584531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gray">
          <a:xfrm>
            <a:off x="396875" y="3792699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396875" y="5000867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chevrons with text boxes</a:t>
            </a:r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2113" y="1377950"/>
            <a:ext cx="2206625" cy="584200"/>
          </a:xfrm>
          <a:prstGeom prst="chevron">
            <a:avLst>
              <a:gd name="adj" fmla="val 34952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, Palatino Linotype14-pt bold</a:t>
            </a: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6338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94213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40500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21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2446338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4942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540500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oxes – vertical chevrons with text</a:t>
            </a:r>
            <a:endParaRPr lang="en-US" dirty="0"/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2330450" y="16097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 rot="5400000">
            <a:off x="2330450" y="24860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 rot="5400000">
            <a:off x="2330450" y="33623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 rot="5400000">
            <a:off x="2330450" y="42386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70089" y="20034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970089" y="28797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3970089" y="3756024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3970089" y="46323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</a:t>
            </a:r>
            <a:r>
              <a:rPr lang="en-US" dirty="0"/>
              <a:t>locks – two squares</a:t>
            </a:r>
          </a:p>
        </p:txBody>
      </p:sp>
      <p:sp>
        <p:nvSpPr>
          <p:cNvPr id="3" name="Slide Number Placeholder 11"/>
          <p:cNvSpPr txBox="1">
            <a:spLocks/>
          </p:cNvSpPr>
          <p:nvPr/>
        </p:nvSpPr>
        <p:spPr>
          <a:xfrm>
            <a:off x="415925" y="6554788"/>
            <a:ext cx="346075" cy="14287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963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925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888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851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814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776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739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702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6B2407-E3DE-42EE-BB9A-9ADA55DC3674}" type="slidenum">
              <a:rPr lang="en-US" smtClean="0">
                <a:latin typeface="Palatino Linotype" panose="02040502050505030304" pitchFamily="18" charset="0"/>
              </a:rPr>
              <a:pPr/>
              <a:t>15</a:t>
            </a:fld>
            <a:endParaRPr lang="en-US">
              <a:latin typeface="Palatino Linotype" panose="02040502050505030304" pitchFamily="18" charset="0"/>
            </a:endParaRP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780301" y="2335769"/>
            <a:ext cx="3240000" cy="288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4651375" y="1705769"/>
            <a:ext cx="3600000" cy="41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rapezoid 12"/>
          <p:cNvSpPr/>
          <p:nvPr/>
        </p:nvSpPr>
        <p:spPr>
          <a:xfrm rot="16200000">
            <a:off x="2264911" y="3460769"/>
            <a:ext cx="4140000" cy="630000"/>
          </a:xfrm>
          <a:prstGeom prst="trapezoid">
            <a:avLst>
              <a:gd name="adj" fmla="val 98866"/>
            </a:avLst>
          </a:pr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locks – sources leading to</a:t>
            </a:r>
          </a:p>
        </p:txBody>
      </p:sp>
      <p:sp>
        <p:nvSpPr>
          <p:cNvPr id="3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12836" y="1830536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12836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771153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 flipH="1">
            <a:off x="5559461" y="1829668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180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Oval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6749" y="3011394"/>
            <a:ext cx="1546225" cy="1548000"/>
          </a:xfrm>
          <a:prstGeom prst="ellipse">
            <a:avLst/>
          </a:prstGeom>
          <a:solidFill>
            <a:schemeClr val="bg2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trees – executive summary tree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7291975" y="1824556"/>
            <a:ext cx="2160000" cy="4521562"/>
            <a:chOff x="6930838" y="1824556"/>
            <a:chExt cx="1981200" cy="4521562"/>
          </a:xfrm>
        </p:grpSpPr>
        <p:grpSp>
          <p:nvGrpSpPr>
            <p:cNvPr id="22" name="组合 21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13" name="Text Box 10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18" name="Rectangle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19" name="Group 2"/>
          <p:cNvGrpSpPr/>
          <p:nvPr/>
        </p:nvGrpSpPr>
        <p:grpSpPr>
          <a:xfrm>
            <a:off x="455612" y="1159753"/>
            <a:ext cx="8996363" cy="603248"/>
            <a:chOff x="387350" y="1123947"/>
            <a:chExt cx="8372475" cy="603248"/>
          </a:xfrm>
        </p:grpSpPr>
        <p:sp>
          <p:nvSpPr>
            <p:cNvPr id="20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7350" y="1292059"/>
              <a:ext cx="8372475" cy="435136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>
                <a:spcAft>
                  <a:spcPts val="300"/>
                </a:spcAft>
                <a:defRPr/>
              </a:pPr>
              <a:r>
                <a:rPr lang="en-US" sz="1200" dirty="0">
                  <a:latin typeface="Palatino Linotype" panose="02040502050505030304" pitchFamily="18" charset="0"/>
                </a:rPr>
                <a:t>Main conclusion</a:t>
              </a:r>
              <a:endParaRPr lang="en-US" sz="1200" kern="0" dirty="0">
                <a:latin typeface="Palatino Linotype" panose="02040502050505030304" pitchFamily="18" charset="0"/>
              </a:endParaRPr>
            </a:p>
          </p:txBody>
        </p:sp>
        <p:sp>
          <p:nvSpPr>
            <p:cNvPr id="21" name="Text Box 10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87350" y="1123947"/>
              <a:ext cx="8372475" cy="21600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defTabSz="957263"/>
              <a:r>
                <a:rPr lang="en-US" sz="1200" b="1">
                  <a:solidFill>
                    <a:schemeClr val="bg1"/>
                  </a:solidFill>
                  <a:latin typeface="Palatino Linotype" panose="02040502050505030304" pitchFamily="18" charset="0"/>
                </a:rPr>
                <a:t>Report title</a:t>
              </a:r>
              <a:endParaRPr lang="en-US" sz="1400" b="1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011600" y="1824556"/>
            <a:ext cx="2160000" cy="4521562"/>
            <a:chOff x="6930838" y="1824556"/>
            <a:chExt cx="1981200" cy="4521562"/>
          </a:xfrm>
        </p:grpSpPr>
        <p:grpSp>
          <p:nvGrpSpPr>
            <p:cNvPr id="25" name="组合 2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27" name="Text Box 10"/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28" name="Rectangle 11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2731225" y="1824556"/>
            <a:ext cx="2160000" cy="4521562"/>
            <a:chOff x="6930838" y="1824556"/>
            <a:chExt cx="1981200" cy="4521562"/>
          </a:xfrm>
        </p:grpSpPr>
        <p:grpSp>
          <p:nvGrpSpPr>
            <p:cNvPr id="30" name="组合 29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2" name="Text Box 10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3" name="Rectangle 11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1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50850" y="1824556"/>
            <a:ext cx="2160000" cy="4521562"/>
            <a:chOff x="6930838" y="1824556"/>
            <a:chExt cx="1981200" cy="4521562"/>
          </a:xfrm>
        </p:grpSpPr>
        <p:grpSp>
          <p:nvGrpSpPr>
            <p:cNvPr id="35" name="组合 3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7" name="Text Box 10"/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6" name="Rectangle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49"/>
          <p:cNvSpPr/>
          <p:nvPr>
            <p:custDataLst>
              <p:tags r:id="rId1"/>
            </p:custDataLst>
          </p:nvPr>
        </p:nvSpPr>
        <p:spPr>
          <a:xfrm>
            <a:off x="970129" y="3179911"/>
            <a:ext cx="8444703" cy="3382231"/>
          </a:xfrm>
          <a:prstGeom prst="roundRect">
            <a:avLst>
              <a:gd name="adj" fmla="val 322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latino Linotype" panose="02040502050505030304" pitchFamily="18" charset="0"/>
            </a:endParaRPr>
          </a:p>
        </p:txBody>
      </p:sp>
      <p:graphicFrame>
        <p:nvGraphicFramePr>
          <p:cNvPr id="9" name="Table 4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278497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23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3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15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wo</a:t>
            </a:r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7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964216" y="2950411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8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5193145" y="2800889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1537315" y="185743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691790" y="167741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37173934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hree</a:t>
            </a:r>
          </a:p>
        </p:txBody>
      </p:sp>
      <p:graphicFrame>
        <p:nvGraphicFramePr>
          <p:cNvPr id="11" name="Table 4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958196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71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>
            <p:custDataLst>
              <p:tags r:id="rId2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13" name="AutoShape 3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21580317">
            <a:off x="3980596" y="2746029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>
                <a:lumMod val="60000"/>
                <a:lumOff val="40000"/>
              </a:schemeClr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4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6891541" y="2536907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6562141" y="1523124"/>
            <a:ext cx="2854561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3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1064271" y="2955152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3704511" y="1677560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896990" y="1929588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  <a:effectLst/>
        </p:spPr>
        <p:txBody>
          <a:bodyPr wrap="square" anchor="ctr">
            <a:spAutoFit/>
          </a:bodyPr>
          <a:lstStyle/>
          <a:p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1 Select &amp; Normalize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154E506-A4BF-1045-958A-6DB9BD0761BE}"/>
              </a:ext>
            </a:extLst>
          </p:cNvPr>
          <p:cNvGrpSpPr/>
          <p:nvPr/>
        </p:nvGrpSpPr>
        <p:grpSpPr>
          <a:xfrm>
            <a:off x="392251" y="1870502"/>
            <a:ext cx="4815296" cy="4344003"/>
            <a:chOff x="4781426" y="1665598"/>
            <a:chExt cx="4815296" cy="43440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AC53568-2EFC-A843-8FA5-E71CB4211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1426" y="1665598"/>
              <a:ext cx="4815296" cy="3697672"/>
            </a:xfrm>
            <a:prstGeom prst="rect">
              <a:avLst/>
            </a:prstGeom>
          </p:spPr>
        </p:pic>
        <p:sp>
          <p:nvSpPr>
            <p:cNvPr id="51" name="文本占位符 8">
              <a:extLst>
                <a:ext uri="{FF2B5EF4-FFF2-40B4-BE49-F238E27FC236}">
                  <a16:creationId xmlns:a16="http://schemas.microsoft.com/office/drawing/2014/main" id="{8EAADE46-A89C-F646-A30D-C4FA5B94AF20}"/>
                </a:ext>
              </a:extLst>
            </p:cNvPr>
            <p:cNvSpPr txBox="1">
              <a:spLocks/>
            </p:cNvSpPr>
            <p:nvPr/>
          </p:nvSpPr>
          <p:spPr>
            <a:xfrm>
              <a:off x="4781426" y="5363270"/>
              <a:ext cx="4815296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US" sz="1400" b="1" dirty="0"/>
                <a:t>Fig 2. </a:t>
              </a:r>
              <a:r>
                <a:rPr lang="en-US" sz="1400" dirty="0"/>
                <a:t>The Distribution of Nan Factors Percentage. We dropped samples where the percentage of </a:t>
              </a:r>
              <a:r>
                <a:rPr lang="en-US" sz="1400" dirty="0" err="1"/>
                <a:t>NaN</a:t>
              </a:r>
              <a:r>
                <a:rPr lang="en-US" sz="1400" dirty="0"/>
                <a:t> factors was greater than 10%.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7C4EFE-7C5E-9746-8290-615FD96D8E8D}"/>
                </a:ext>
              </a:extLst>
            </p:cNvPr>
            <p:cNvCxnSpPr>
              <a:cxnSpLocks/>
            </p:cNvCxnSpPr>
            <p:nvPr/>
          </p:nvCxnSpPr>
          <p:spPr>
            <a:xfrm>
              <a:off x="6284354" y="1665598"/>
              <a:ext cx="0" cy="3456384"/>
            </a:xfrm>
            <a:prstGeom prst="line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ross 34">
              <a:extLst>
                <a:ext uri="{FF2B5EF4-FFF2-40B4-BE49-F238E27FC236}">
                  <a16:creationId xmlns:a16="http://schemas.microsoft.com/office/drawing/2014/main" id="{6097199C-7DEB-0C42-9216-0E5A2985DC1E}"/>
                </a:ext>
              </a:extLst>
            </p:cNvPr>
            <p:cNvSpPr/>
            <p:nvPr/>
          </p:nvSpPr>
          <p:spPr>
            <a:xfrm rot="2703471">
              <a:off x="7195246" y="3057226"/>
              <a:ext cx="914520" cy="914418"/>
            </a:xfrm>
            <a:prstGeom prst="plus">
              <a:avLst>
                <a:gd name="adj" fmla="val 43665"/>
              </a:avLst>
            </a:prstGeom>
            <a:solidFill>
              <a:srgbClr val="9B1717"/>
            </a:solidFill>
            <a:ln w="6350" cap="flat">
              <a:solidFill>
                <a:srgbClr val="9B1717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2790CA8A-D719-7C45-B94B-D34D4DDA6AF3}"/>
              </a:ext>
            </a:extLst>
          </p:cNvPr>
          <p:cNvGrpSpPr/>
          <p:nvPr/>
        </p:nvGrpSpPr>
        <p:grpSpPr>
          <a:xfrm>
            <a:off x="5911145" y="1354031"/>
            <a:ext cx="3623852" cy="5182188"/>
            <a:chOff x="6022085" y="1233550"/>
            <a:chExt cx="3623852" cy="5182188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AE0490B-CA7A-0840-8BC1-063458407343}"/>
                </a:ext>
              </a:extLst>
            </p:cNvPr>
            <p:cNvSpPr txBox="1"/>
            <p:nvPr/>
          </p:nvSpPr>
          <p:spPr>
            <a:xfrm>
              <a:off x="8030180" y="1839109"/>
              <a:ext cx="1241939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too many NaN</a:t>
              </a:r>
              <a:r>
                <a:rPr lang="zh-CN" altLang="en-US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actors</a:t>
              </a:r>
              <a:endParaRPr lang="en-CN" sz="10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F068FE2-BCA0-1242-B0D3-A86D146E4A76}"/>
                </a:ext>
              </a:extLst>
            </p:cNvPr>
            <p:cNvSpPr txBox="1"/>
            <p:nvPr/>
          </p:nvSpPr>
          <p:spPr>
            <a:xfrm>
              <a:off x="6252065" y="1839109"/>
              <a:ext cx="1241931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amples have </a:t>
              </a:r>
            </a:p>
            <a:p>
              <a:pPr algn="ctr"/>
              <a:r>
                <a:rPr lang="en-CN" sz="10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 Label</a:t>
              </a: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5705312-4B14-534D-90B6-DD334B62EFA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153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D898968F-A92E-DC40-9230-52A4E4015D3C}"/>
                </a:ext>
              </a:extLst>
            </p:cNvPr>
            <p:cNvCxnSpPr>
              <a:cxnSpLocks/>
            </p:cNvCxnSpPr>
            <p:nvPr/>
          </p:nvCxnSpPr>
          <p:spPr>
            <a:xfrm>
              <a:off x="8052266" y="1773610"/>
              <a:ext cx="0" cy="535669"/>
            </a:xfrm>
            <a:prstGeom prst="straightConnector1">
              <a:avLst/>
            </a:prstGeom>
            <a:ln w="19050" cap="flat">
              <a:solidFill>
                <a:srgbClr val="C00000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>
              <a:extLst>
                <a:ext uri="{FF2B5EF4-FFF2-40B4-BE49-F238E27FC236}">
                  <a16:creationId xmlns:a16="http://schemas.microsoft.com/office/drawing/2014/main" id="{9371F0E5-379B-824A-9398-8F3B331F7CFC}"/>
                </a:ext>
              </a:extLst>
            </p:cNvPr>
            <p:cNvSpPr/>
            <p:nvPr/>
          </p:nvSpPr>
          <p:spPr>
            <a:xfrm>
              <a:off x="6252066" y="1233550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aw Samples </a:t>
              </a: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500 stocks, 606475 samples)</a:t>
              </a:r>
            </a:p>
          </p:txBody>
        </p:sp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9154EDEF-C6D9-5440-ADF6-483C38C9BC5C}"/>
                </a:ext>
              </a:extLst>
            </p:cNvPr>
            <p:cNvSpPr/>
            <p:nvPr/>
          </p:nvSpPr>
          <p:spPr>
            <a:xfrm>
              <a:off x="6252066" y="2309279"/>
              <a:ext cx="3020053" cy="54006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ected Samples 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ll </a:t>
              </a:r>
              <a:r>
                <a:rPr lang="en-US" altLang="zh-CN" sz="1400" i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aN</a:t>
              </a:r>
              <a:r>
                <a:rPr lang="en-US" altLang="zh-CN" sz="1400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y 0</a:t>
              </a:r>
              <a:r>
                <a:rPr lang="en-US" altLang="zh-CN" sz="1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CN" sz="1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3</a:t>
              </a:r>
              <a:r>
                <a:rPr lang="en-US" altLang="zh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CN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0 stocks, 449765 samples)</a:t>
              </a:r>
            </a:p>
          </p:txBody>
        </p:sp>
        <p:sp>
          <p:nvSpPr>
            <p:cNvPr id="88" name="Rounded Rectangle 87">
              <a:extLst>
                <a:ext uri="{FF2B5EF4-FFF2-40B4-BE49-F238E27FC236}">
                  <a16:creationId xmlns:a16="http://schemas.microsoft.com/office/drawing/2014/main" id="{70012F67-1B2F-6340-84F2-2B6C34F06419}"/>
                </a:ext>
              </a:extLst>
            </p:cNvPr>
            <p:cNvSpPr/>
            <p:nvPr/>
          </p:nvSpPr>
          <p:spPr>
            <a:xfrm>
              <a:off x="6252066" y="3384838"/>
              <a:ext cx="3020053" cy="54006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8C416A7-1F0E-1843-9D9A-DAC64DD3C0EF}"/>
                </a:ext>
              </a:extLst>
            </p:cNvPr>
            <p:cNvCxnSpPr>
              <a:cxnSpLocks/>
              <a:stCxn id="87" idx="2"/>
              <a:endCxn id="88" idx="0"/>
            </p:cNvCxnSpPr>
            <p:nvPr/>
          </p:nvCxnSpPr>
          <p:spPr>
            <a:xfrm>
              <a:off x="7762093" y="2849339"/>
              <a:ext cx="0" cy="535499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prstDash val="dash"/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0AD0EAD-0BFE-8540-BA57-961419F37781}"/>
                </a:ext>
              </a:extLst>
            </p:cNvPr>
            <p:cNvSpPr txBox="1"/>
            <p:nvPr/>
          </p:nvSpPr>
          <p:spPr>
            <a:xfrm>
              <a:off x="7834011" y="2934349"/>
              <a:ext cx="1440815" cy="40011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ross Sectional</a:t>
              </a:r>
            </a:p>
            <a:p>
              <a:pPr algn="ctr"/>
              <a:r>
                <a:rPr lang="en-US" sz="1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-Score Normalization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25A37AC1-F5AE-3F4E-902E-47CC7B421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8831" y="4010078"/>
              <a:ext cx="2266521" cy="1740465"/>
            </a:xfrm>
            <a:prstGeom prst="rect">
              <a:avLst/>
            </a:prstGeom>
          </p:spPr>
        </p:pic>
        <p:sp>
          <p:nvSpPr>
            <p:cNvPr id="92" name="文本占位符 8">
              <a:extLst>
                <a:ext uri="{FF2B5EF4-FFF2-40B4-BE49-F238E27FC236}">
                  <a16:creationId xmlns:a16="http://schemas.microsoft.com/office/drawing/2014/main" id="{0733D834-9E9B-BF44-BC8C-041A82E6B17B}"/>
                </a:ext>
              </a:extLst>
            </p:cNvPr>
            <p:cNvSpPr txBox="1">
              <a:spLocks/>
            </p:cNvSpPr>
            <p:nvPr/>
          </p:nvSpPr>
          <p:spPr>
            <a:xfrm>
              <a:off x="6022085" y="5769407"/>
              <a:ext cx="3623852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00000"/>
                </a:lnSpc>
              </a:pPr>
              <a:r>
                <a:rPr lang="en-CN" sz="1400" b="1" dirty="0"/>
                <a:t>Fig 3. </a:t>
              </a:r>
              <a:r>
                <a:rPr lang="en-CN" sz="1400" dirty="0"/>
                <a:t>The</a:t>
              </a:r>
              <a:r>
                <a:rPr lang="zh-CN" altLang="en-US" sz="1400" dirty="0"/>
                <a:t> </a:t>
              </a:r>
              <a:r>
                <a:rPr lang="en-US" altLang="zh-CN" sz="1400" dirty="0"/>
                <a:t>Select &amp; Normalize Workflow. We also present the normed data distribution here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7742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 In-Sample &amp; Out-Sample Model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40696F4-2D6B-394C-A2C6-79572340C6AE}"/>
              </a:ext>
            </a:extLst>
          </p:cNvPr>
          <p:cNvGrpSpPr/>
          <p:nvPr/>
        </p:nvGrpSpPr>
        <p:grpSpPr>
          <a:xfrm>
            <a:off x="415702" y="1269554"/>
            <a:ext cx="9066396" cy="4932548"/>
            <a:chOff x="530718" y="1161542"/>
            <a:chExt cx="9066396" cy="4932548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8F695562-7FE3-6948-BCC4-C796B12530B2}"/>
                </a:ext>
              </a:extLst>
            </p:cNvPr>
            <p:cNvSpPr/>
            <p:nvPr/>
          </p:nvSpPr>
          <p:spPr>
            <a:xfrm>
              <a:off x="4564114" y="1358001"/>
              <a:ext cx="2073155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ormed Samples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圆柱体 4">
              <a:extLst>
                <a:ext uri="{FF2B5EF4-FFF2-40B4-BE49-F238E27FC236}">
                  <a16:creationId xmlns:a16="http://schemas.microsoft.com/office/drawing/2014/main" id="{AAFD5A77-5B87-314E-BFD0-1A527C25026C}"/>
                </a:ext>
              </a:extLst>
            </p:cNvPr>
            <p:cNvSpPr/>
            <p:nvPr/>
          </p:nvSpPr>
          <p:spPr>
            <a:xfrm>
              <a:off x="729555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Normed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圆柱体 4">
              <a:extLst>
                <a:ext uri="{FF2B5EF4-FFF2-40B4-BE49-F238E27FC236}">
                  <a16:creationId xmlns:a16="http://schemas.microsoft.com/office/drawing/2014/main" id="{28F49BF6-34FF-1145-8A1D-E88FD64E5017}"/>
                </a:ext>
              </a:extLst>
            </p:cNvPr>
            <p:cNvSpPr/>
            <p:nvPr/>
          </p:nvSpPr>
          <p:spPr>
            <a:xfrm>
              <a:off x="2176160" y="1358001"/>
              <a:ext cx="1190292" cy="586883"/>
            </a:xfrm>
            <a:prstGeom prst="can">
              <a:avLst>
                <a:gd name="adj" fmla="val 15969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Return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Label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Notched Right Arrow 23">
              <a:extLst>
                <a:ext uri="{FF2B5EF4-FFF2-40B4-BE49-F238E27FC236}">
                  <a16:creationId xmlns:a16="http://schemas.microsoft.com/office/drawing/2014/main" id="{A2553A0D-DC3C-6F43-8F6D-139E282AE7E5}"/>
                </a:ext>
              </a:extLst>
            </p:cNvPr>
            <p:cNvSpPr/>
            <p:nvPr/>
          </p:nvSpPr>
          <p:spPr>
            <a:xfrm>
              <a:off x="3747284" y="1412495"/>
              <a:ext cx="566164" cy="477893"/>
            </a:xfrm>
            <a:prstGeom prst="notchedRight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5BFFDB-9A0C-2446-99FC-E57ACF5788FA}"/>
                </a:ext>
              </a:extLst>
            </p:cNvPr>
            <p:cNvSpPr txBox="1"/>
            <p:nvPr/>
          </p:nvSpPr>
          <p:spPr>
            <a:xfrm>
              <a:off x="6891323" y="1540641"/>
              <a:ext cx="182742" cy="2215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US" altLang="zh-CN" sz="16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r</a:t>
              </a:r>
              <a:endParaRPr lang="en-CN" sz="16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FB0F10E-4D5F-1844-9D46-7CBA8D6B0BAE}"/>
                </a:ext>
              </a:extLst>
            </p:cNvPr>
            <p:cNvSpPr/>
            <p:nvPr/>
          </p:nvSpPr>
          <p:spPr>
            <a:xfrm>
              <a:off x="7324731" y="1358001"/>
              <a:ext cx="2073154" cy="58688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AE2B92-10EF-8545-8433-E63A2D96875A}"/>
                </a:ext>
              </a:extLst>
            </p:cNvPr>
            <p:cNvGrpSpPr/>
            <p:nvPr/>
          </p:nvGrpSpPr>
          <p:grpSpPr>
            <a:xfrm>
              <a:off x="7381422" y="1483917"/>
              <a:ext cx="1959771" cy="335045"/>
              <a:chOff x="7333841" y="1474660"/>
              <a:chExt cx="1959771" cy="335045"/>
            </a:xfrm>
          </p:grpSpPr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id="{630C5B1C-2117-2345-AF19-A8382FD7D0CC}"/>
                  </a:ext>
                </a:extLst>
              </p:cNvPr>
              <p:cNvSpPr/>
              <p:nvPr/>
            </p:nvSpPr>
            <p:spPr>
              <a:xfrm>
                <a:off x="7333841" y="1474662"/>
                <a:ext cx="619615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in</a:t>
                </a: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C06B033D-6D9A-C040-A966-D54031E87DBE}"/>
                  </a:ext>
                </a:extLst>
              </p:cNvPr>
              <p:cNvSpPr/>
              <p:nvPr/>
            </p:nvSpPr>
            <p:spPr>
              <a:xfrm>
                <a:off x="7998547" y="1474661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alid</a:t>
                </a:r>
              </a:p>
            </p:txBody>
          </p: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AE169D38-22F6-6F42-84C9-CCA469581D22}"/>
                  </a:ext>
                </a:extLst>
              </p:cNvPr>
              <p:cNvSpPr/>
              <p:nvPr/>
            </p:nvSpPr>
            <p:spPr>
              <a:xfrm>
                <a:off x="8668625" y="1474660"/>
                <a:ext cx="624987" cy="335043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</a:t>
                </a:r>
              </a:p>
            </p:txBody>
          </p:sp>
        </p:grpSp>
        <p:cxnSp>
          <p:nvCxnSpPr>
            <p:cNvPr id="40" name="Elbow Connector 39">
              <a:extLst>
                <a:ext uri="{FF2B5EF4-FFF2-40B4-BE49-F238E27FC236}">
                  <a16:creationId xmlns:a16="http://schemas.microsoft.com/office/drawing/2014/main" id="{EBC9DFA8-F34A-4F4B-99BF-E4954E0BDEC4}"/>
                </a:ext>
              </a:extLst>
            </p:cNvPr>
            <p:cNvCxnSpPr>
              <a:cxnSpLocks/>
              <a:stCxn id="23" idx="3"/>
              <a:endCxn id="33" idx="0"/>
            </p:cNvCxnSpPr>
            <p:nvPr/>
          </p:nvCxnSpPr>
          <p:spPr>
            <a:xfrm rot="16200000" flipH="1">
              <a:off x="3500310" y="1215880"/>
              <a:ext cx="1291981" cy="2749988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Elbow Connector 64">
              <a:extLst>
                <a:ext uri="{FF2B5EF4-FFF2-40B4-BE49-F238E27FC236}">
                  <a16:creationId xmlns:a16="http://schemas.microsoft.com/office/drawing/2014/main" id="{EC9519EA-55C1-AE48-B5B1-C05013E058A0}"/>
                </a:ext>
              </a:extLst>
            </p:cNvPr>
            <p:cNvCxnSpPr>
              <a:cxnSpLocks/>
              <a:stCxn id="23" idx="3"/>
              <a:endCxn id="54" idx="0"/>
            </p:cNvCxnSpPr>
            <p:nvPr/>
          </p:nvCxnSpPr>
          <p:spPr>
            <a:xfrm rot="16200000" flipH="1">
              <a:off x="4722174" y="-5984"/>
              <a:ext cx="1295866" cy="5197602"/>
            </a:xfrm>
            <a:prstGeom prst="bentConnector3">
              <a:avLst>
                <a:gd name="adj1" fmla="val 50000"/>
              </a:avLst>
            </a:prstGeom>
            <a:ln w="19050" cap="flat">
              <a:solidFill>
                <a:schemeClr val="bg2"/>
              </a:solidFill>
              <a:prstDash val="dash"/>
              <a:miter lim="800000"/>
              <a:headEnd type="none" w="lg" len="lg"/>
              <a:tailEnd type="stealth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ent Arrow 49">
              <a:extLst>
                <a:ext uri="{FF2B5EF4-FFF2-40B4-BE49-F238E27FC236}">
                  <a16:creationId xmlns:a16="http://schemas.microsoft.com/office/drawing/2014/main" id="{B3E7CF1B-EF80-1E43-9C94-80826FAB1E95}"/>
                </a:ext>
              </a:extLst>
            </p:cNvPr>
            <p:cNvSpPr/>
            <p:nvPr/>
          </p:nvSpPr>
          <p:spPr>
            <a:xfrm rot="10800000" flipH="1">
              <a:off x="1243794" y="2631204"/>
              <a:ext cx="927572" cy="1389465"/>
            </a:xfrm>
            <a:prstGeom prst="bentArrow">
              <a:avLst>
                <a:gd name="adj1" fmla="val 20267"/>
                <a:gd name="adj2" fmla="val 25000"/>
                <a:gd name="adj3" fmla="val 25000"/>
                <a:gd name="adj4" fmla="val 43750"/>
              </a:avLst>
            </a:prstGeom>
            <a:gradFill flip="none" rotWithShape="1">
              <a:gsLst>
                <a:gs pos="0">
                  <a:schemeClr val="accent5">
                    <a:lumMod val="5000"/>
                    <a:lumOff val="95000"/>
                  </a:schemeClr>
                </a:gs>
                <a:gs pos="74000">
                  <a:schemeClr val="accent5">
                    <a:lumMod val="45000"/>
                    <a:lumOff val="55000"/>
                  </a:schemeClr>
                </a:gs>
                <a:gs pos="83000">
                  <a:schemeClr val="accent5">
                    <a:lumMod val="45000"/>
                    <a:lumOff val="55000"/>
                  </a:schemeClr>
                </a:gs>
                <a:gs pos="100000">
                  <a:schemeClr val="accent5">
                    <a:lumMod val="30000"/>
                    <a:lumOff val="70000"/>
                  </a:schemeClr>
                </a:gs>
              </a:gsLst>
              <a:lin ang="2700000" scaled="1"/>
              <a:tileRect/>
            </a:gra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9BAC3D8-304E-8A4A-A7AC-DB00147ED227}"/>
                </a:ext>
              </a:extLst>
            </p:cNvPr>
            <p:cNvSpPr txBox="1"/>
            <p:nvPr/>
          </p:nvSpPr>
          <p:spPr>
            <a:xfrm>
              <a:off x="6912575" y="2096435"/>
              <a:ext cx="2684539" cy="49244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CN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crete</a:t>
              </a:r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: </a:t>
              </a:r>
            </a:p>
            <a:p>
              <a:r>
                <a:rPr lang="en-US" sz="13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-decrease; 1-no change; 2- increase</a:t>
              </a:r>
              <a:endParaRPr lang="en-CN" sz="13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E2AB9B3-0D7D-284D-B506-2D72733FEC7C}"/>
                </a:ext>
              </a:extLst>
            </p:cNvPr>
            <p:cNvSpPr txBox="1"/>
            <p:nvPr/>
          </p:nvSpPr>
          <p:spPr>
            <a:xfrm>
              <a:off x="4527223" y="2771522"/>
              <a:ext cx="1003397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S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F7F4CA5-453C-0049-B7FF-B4159C7A01CB}"/>
                </a:ext>
              </a:extLst>
            </p:cNvPr>
            <p:cNvSpPr txBox="1"/>
            <p:nvPr/>
          </p:nvSpPr>
          <p:spPr>
            <a:xfrm>
              <a:off x="6966294" y="2771522"/>
              <a:ext cx="1003398" cy="292388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300" b="1" i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E Loss</a:t>
              </a:r>
              <a:endParaRPr lang="en-CN" sz="13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EC74333-5FDB-FD4E-B392-371ADC972489}"/>
                </a:ext>
              </a:extLst>
            </p:cNvPr>
            <p:cNvGrpSpPr/>
            <p:nvPr/>
          </p:nvGrpSpPr>
          <p:grpSpPr>
            <a:xfrm>
              <a:off x="4527222" y="3236865"/>
              <a:ext cx="4437717" cy="1569298"/>
              <a:chOff x="3552764" y="3062689"/>
              <a:chExt cx="4437717" cy="1569298"/>
            </a:xfrm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B443C575-64EE-4F48-AA6D-3B3B8E090D51}"/>
                  </a:ext>
                </a:extLst>
              </p:cNvPr>
              <p:cNvSpPr/>
              <p:nvPr/>
            </p:nvSpPr>
            <p:spPr>
              <a:xfrm>
                <a:off x="3552765" y="3062689"/>
                <a:ext cx="1988141" cy="543186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ing</a:t>
                </a:r>
              </a:p>
            </p:txBody>
          </p:sp>
          <p:sp>
            <p:nvSpPr>
              <p:cNvPr id="54" name="Rounded Rectangle 53">
                <a:extLst>
                  <a:ext uri="{FF2B5EF4-FFF2-40B4-BE49-F238E27FC236}">
                    <a16:creationId xmlns:a16="http://schemas.microsoft.com/office/drawing/2014/main" id="{9F4C6E23-6731-B342-AF61-199A1D1B4EB2}"/>
                  </a:ext>
                </a:extLst>
              </p:cNvPr>
              <p:cNvSpPr/>
              <p:nvPr/>
            </p:nvSpPr>
            <p:spPr>
              <a:xfrm>
                <a:off x="6000379" y="3066574"/>
                <a:ext cx="1988141" cy="539301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Modeling</a:t>
                </a:r>
              </a:p>
            </p:txBody>
          </p:sp>
          <p:sp>
            <p:nvSpPr>
              <p:cNvPr id="74" name="Rounded Rectangle 73">
                <a:extLst>
                  <a:ext uri="{FF2B5EF4-FFF2-40B4-BE49-F238E27FC236}">
                    <a16:creationId xmlns:a16="http://schemas.microsoft.com/office/drawing/2014/main" id="{12E7D3BC-1279-A646-986A-BA1E3B435FB5}"/>
                  </a:ext>
                </a:extLst>
              </p:cNvPr>
              <p:cNvSpPr/>
              <p:nvPr/>
            </p:nvSpPr>
            <p:spPr>
              <a:xfrm>
                <a:off x="3552764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turn Prediction</a:t>
                </a:r>
              </a:p>
            </p:txBody>
          </p:sp>
          <p:sp>
            <p:nvSpPr>
              <p:cNvPr id="75" name="Rounded Rectangle 74">
                <a:extLst>
                  <a:ext uri="{FF2B5EF4-FFF2-40B4-BE49-F238E27FC236}">
                    <a16:creationId xmlns:a16="http://schemas.microsoft.com/office/drawing/2014/main" id="{E6781791-E31B-F844-8620-F9B8E0C1B1AD}"/>
                  </a:ext>
                </a:extLst>
              </p:cNvPr>
              <p:cNvSpPr/>
              <p:nvPr/>
            </p:nvSpPr>
            <p:spPr>
              <a:xfrm>
                <a:off x="6002340" y="4088801"/>
                <a:ext cx="1988141" cy="543186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screte Prediction</a:t>
                </a:r>
              </a:p>
            </p:txBody>
          </p:sp>
        </p:grp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81366AAB-6334-7145-AF60-78D95444D4D1}"/>
                </a:ext>
              </a:extLst>
            </p:cNvPr>
            <p:cNvSpPr/>
            <p:nvPr/>
          </p:nvSpPr>
          <p:spPr>
            <a:xfrm rot="5400000">
              <a:off x="6622372" y="4763437"/>
              <a:ext cx="254782" cy="688034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>
              <a:solidFill>
                <a:schemeClr val="accent5">
                  <a:lumMod val="20000"/>
                  <a:lumOff val="80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CN" sz="140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CF565C7C-5305-0C43-A3FE-803DE74831A8}"/>
                </a:ext>
              </a:extLst>
            </p:cNvPr>
            <p:cNvSpPr/>
            <p:nvPr/>
          </p:nvSpPr>
          <p:spPr>
            <a:xfrm>
              <a:off x="5530620" y="5350748"/>
              <a:ext cx="2438289" cy="543186"/>
            </a:xfrm>
            <a:prstGeom prst="roundRect">
              <a:avLst>
                <a:gd name="adj" fmla="val 10252"/>
              </a:avLst>
            </a:prstGeom>
            <a:solidFill>
              <a:schemeClr val="bg2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1 Score &amp; ACC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6B895BFF-06B1-3345-860B-A44E7EBF07F6}"/>
                </a:ext>
              </a:extLst>
            </p:cNvPr>
            <p:cNvCxnSpPr>
              <a:stCxn id="33" idx="2"/>
              <a:endCxn id="74" idx="0"/>
            </p:cNvCxnSpPr>
            <p:nvPr/>
          </p:nvCxnSpPr>
          <p:spPr>
            <a:xfrm flipH="1">
              <a:off x="5521293" y="3780051"/>
              <a:ext cx="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5C70DF66-6346-6C4A-9563-3BAB4152653A}"/>
                </a:ext>
              </a:extLst>
            </p:cNvPr>
            <p:cNvCxnSpPr>
              <a:cxnSpLocks/>
              <a:stCxn id="54" idx="2"/>
              <a:endCxn id="75" idx="0"/>
            </p:cNvCxnSpPr>
            <p:nvPr/>
          </p:nvCxnSpPr>
          <p:spPr>
            <a:xfrm>
              <a:off x="7968908" y="3780051"/>
              <a:ext cx="1961" cy="482926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headEnd type="none" w="med" len="med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F99DE63-F1FA-B84B-9C19-1B0D576A7CA1}"/>
                </a:ext>
              </a:extLst>
            </p:cNvPr>
            <p:cNvSpPr/>
            <p:nvPr/>
          </p:nvSpPr>
          <p:spPr>
            <a:xfrm>
              <a:off x="530718" y="1161542"/>
              <a:ext cx="9066004" cy="4932548"/>
            </a:xfrm>
            <a:prstGeom prst="rect">
              <a:avLst/>
            </a:prstGeom>
            <a:noFill/>
            <a:ln w="19050" cap="flat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</a:pPr>
              <a:endParaRPr lang="en-CN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ounded Rectangle 103">
              <a:extLst>
                <a:ext uri="{FF2B5EF4-FFF2-40B4-BE49-F238E27FC236}">
                  <a16:creationId xmlns:a16="http://schemas.microsoft.com/office/drawing/2014/main" id="{C5DB0606-7B7C-024B-B635-6C7720899E00}"/>
                </a:ext>
              </a:extLst>
            </p:cNvPr>
            <p:cNvSpPr/>
            <p:nvPr/>
          </p:nvSpPr>
          <p:spPr>
            <a:xfrm>
              <a:off x="842595" y="4662488"/>
              <a:ext cx="2456940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ll Samples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5" name="Rounded Rectangle 104">
              <a:extLst>
                <a:ext uri="{FF2B5EF4-FFF2-40B4-BE49-F238E27FC236}">
                  <a16:creationId xmlns:a16="http://schemas.microsoft.com/office/drawing/2014/main" id="{C152BA4E-C2FC-814B-9EE2-330616475EA4}"/>
                </a:ext>
              </a:extLst>
            </p:cNvPr>
            <p:cNvSpPr/>
            <p:nvPr/>
          </p:nvSpPr>
          <p:spPr>
            <a:xfrm>
              <a:off x="842595" y="5316536"/>
              <a:ext cx="2456942" cy="586884"/>
            </a:xfrm>
            <a:prstGeom prst="roundRect">
              <a:avLst>
                <a:gd name="adj" fmla="val 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ap="flat">
              <a:solidFill>
                <a:schemeClr val="tx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plit to Train/Valid/Test</a:t>
              </a:r>
            </a:p>
            <a:p>
              <a:pPr algn="ctr"/>
              <a:r>
                <a:rPr lang="en-CN" sz="1200" b="0" i="0" u="none" strike="noStrike" dirty="0">
                  <a:solidFill>
                    <a:srgbClr val="191B1F"/>
                  </a:solidFill>
                  <a:effectLst/>
                  <a:latin typeface="-apple-system"/>
                </a:rPr>
                <a:t>➸</a:t>
              </a:r>
              <a:r>
                <a:rPr lang="en-US" sz="1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ut-Sample Modeling</a:t>
              </a:r>
              <a:endParaRPr lang="en-CN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07" name="文本占位符 8">
            <a:extLst>
              <a:ext uri="{FF2B5EF4-FFF2-40B4-BE49-F238E27FC236}">
                <a16:creationId xmlns:a16="http://schemas.microsoft.com/office/drawing/2014/main" id="{7A2E5D69-9076-4B4C-A1EA-BDDF9C38CBC2}"/>
              </a:ext>
            </a:extLst>
          </p:cNvPr>
          <p:cNvSpPr txBox="1">
            <a:spLocks/>
          </p:cNvSpPr>
          <p:nvPr/>
        </p:nvSpPr>
        <p:spPr>
          <a:xfrm>
            <a:off x="1633072" y="6393981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</a:t>
            </a:r>
            <a:r>
              <a:rPr lang="en-US" altLang="zh-CN" sz="1400" b="1" dirty="0"/>
              <a:t>4</a:t>
            </a:r>
            <a:r>
              <a:rPr lang="en-US" sz="1400" b="1" dirty="0"/>
              <a:t>. </a:t>
            </a:r>
            <a:r>
              <a:rPr lang="en-US" sz="1400" dirty="0"/>
              <a:t>In</a:t>
            </a:r>
            <a:r>
              <a:rPr lang="en-US" altLang="zh-CN" sz="1400" dirty="0"/>
              <a:t>-Sample and Out-Sample Modeling Framework</a:t>
            </a:r>
            <a:r>
              <a:rPr lang="en-US" sz="1400" dirty="0"/>
              <a:t>.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1212D74-A70A-704B-8A9E-85FC61177B4A}"/>
              </a:ext>
            </a:extLst>
          </p:cNvPr>
          <p:cNvSpPr txBox="1"/>
          <p:nvPr/>
        </p:nvSpPr>
        <p:spPr>
          <a:xfrm>
            <a:off x="7216697" y="5006372"/>
            <a:ext cx="1274388" cy="43088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Label to</a:t>
            </a:r>
          </a:p>
          <a:p>
            <a:pPr algn="ctr">
              <a:buClr>
                <a:schemeClr val="bg2"/>
              </a:buClr>
            </a:pPr>
            <a:r>
              <a:rPr lang="en-CN" sz="14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ute Metrics</a:t>
            </a:r>
          </a:p>
        </p:txBody>
      </p:sp>
    </p:spTree>
    <p:extLst>
      <p:ext uri="{BB962C8B-B14F-4D97-AF65-F5344CB8AC3E}">
        <p14:creationId xmlns:p14="http://schemas.microsoft.com/office/powerpoint/2010/main" val="2596749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Method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B7F5B69-88C0-4D42-8927-01D92FB66595}"/>
              </a:ext>
            </a:extLst>
          </p:cNvPr>
          <p:cNvGrpSpPr/>
          <p:nvPr/>
        </p:nvGrpSpPr>
        <p:grpSpPr>
          <a:xfrm>
            <a:off x="469707" y="1917626"/>
            <a:ext cx="8964997" cy="4113957"/>
            <a:chOff x="469707" y="1737606"/>
            <a:chExt cx="8964997" cy="411395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2527B54-B65A-874E-A8EA-B1D379B43793}"/>
                </a:ext>
              </a:extLst>
            </p:cNvPr>
            <p:cNvGrpSpPr/>
            <p:nvPr/>
          </p:nvGrpSpPr>
          <p:grpSpPr>
            <a:xfrm>
              <a:off x="469707" y="1737606"/>
              <a:ext cx="8964997" cy="3600400"/>
              <a:chOff x="559717" y="1737606"/>
              <a:chExt cx="8964997" cy="3600400"/>
            </a:xfrm>
          </p:grpSpPr>
          <p:sp>
            <p:nvSpPr>
              <p:cNvPr id="15" name="Rounded Rectangle 14">
                <a:extLst>
                  <a:ext uri="{FF2B5EF4-FFF2-40B4-BE49-F238E27FC236}">
                    <a16:creationId xmlns:a16="http://schemas.microsoft.com/office/drawing/2014/main" id="{694DA9AF-F832-574A-AD40-3AD1AD93A00E}"/>
                  </a:ext>
                </a:extLst>
              </p:cNvPr>
              <p:cNvSpPr/>
              <p:nvPr/>
            </p:nvSpPr>
            <p:spPr>
              <a:xfrm>
                <a:off x="559718" y="1737606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1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D3082935-0C9B-5F4C-A78C-18D37E6D72AD}"/>
                  </a:ext>
                </a:extLst>
              </p:cNvPr>
              <p:cNvSpPr/>
              <p:nvPr/>
            </p:nvSpPr>
            <p:spPr>
              <a:xfrm>
                <a:off x="3440036" y="1737606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434092C5-BB86-2143-A03D-3B0B1756E1DD}"/>
                  </a:ext>
                </a:extLst>
              </p:cNvPr>
              <p:cNvSpPr/>
              <p:nvPr/>
            </p:nvSpPr>
            <p:spPr>
              <a:xfrm>
                <a:off x="3440037" y="213365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1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22" name="Elbow Connector 21">
                <a:extLst>
                  <a:ext uri="{FF2B5EF4-FFF2-40B4-BE49-F238E27FC236}">
                    <a16:creationId xmlns:a16="http://schemas.microsoft.com/office/drawing/2014/main" id="{1AB8DC6C-AEAA-3546-AFD0-FCF434DEB11B}"/>
                  </a:ext>
                </a:extLst>
              </p:cNvPr>
              <p:cNvCxnSpPr>
                <a:cxnSpLocks/>
                <a:stCxn id="15" idx="3"/>
                <a:endCxn id="20" idx="1"/>
              </p:cNvCxnSpPr>
              <p:nvPr/>
            </p:nvCxnSpPr>
            <p:spPr>
              <a:xfrm flipV="1">
                <a:off x="2632873" y="1881622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Elbow Connector 25">
                <a:extLst>
                  <a:ext uri="{FF2B5EF4-FFF2-40B4-BE49-F238E27FC236}">
                    <a16:creationId xmlns:a16="http://schemas.microsoft.com/office/drawing/2014/main" id="{98799E43-BDBF-2743-AAAE-8EBF0DB70807}"/>
                  </a:ext>
                </a:extLst>
              </p:cNvPr>
              <p:cNvCxnSpPr>
                <a:cxnSpLocks/>
                <a:stCxn id="15" idx="3"/>
                <a:endCxn id="21" idx="1"/>
              </p:cNvCxnSpPr>
              <p:nvPr/>
            </p:nvCxnSpPr>
            <p:spPr>
              <a:xfrm>
                <a:off x="2632873" y="2079644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ounded Rectangle 28">
                <a:extLst>
                  <a:ext uri="{FF2B5EF4-FFF2-40B4-BE49-F238E27FC236}">
                    <a16:creationId xmlns:a16="http://schemas.microsoft.com/office/drawing/2014/main" id="{98B9F168-4076-F24C-9D06-B79DB99F4244}"/>
                  </a:ext>
                </a:extLst>
              </p:cNvPr>
              <p:cNvSpPr/>
              <p:nvPr/>
            </p:nvSpPr>
            <p:spPr>
              <a:xfrm>
                <a:off x="559718" y="2827517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2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Rounded Rectangle 29">
                <a:extLst>
                  <a:ext uri="{FF2B5EF4-FFF2-40B4-BE49-F238E27FC236}">
                    <a16:creationId xmlns:a16="http://schemas.microsoft.com/office/drawing/2014/main" id="{A1CB7B83-2445-6540-BA03-84589AA98BEB}"/>
                  </a:ext>
                </a:extLst>
              </p:cNvPr>
              <p:cNvSpPr/>
              <p:nvPr/>
            </p:nvSpPr>
            <p:spPr>
              <a:xfrm>
                <a:off x="3440036" y="2827517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" name="Rounded Rectangle 30">
                <a:extLst>
                  <a:ext uri="{FF2B5EF4-FFF2-40B4-BE49-F238E27FC236}">
                    <a16:creationId xmlns:a16="http://schemas.microsoft.com/office/drawing/2014/main" id="{745CD0A3-1F50-6F4A-A8AE-86C9324D58FA}"/>
                  </a:ext>
                </a:extLst>
              </p:cNvPr>
              <p:cNvSpPr/>
              <p:nvPr/>
            </p:nvSpPr>
            <p:spPr>
              <a:xfrm>
                <a:off x="3440037" y="3223561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2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2" name="Elbow Connector 31">
                <a:extLst>
                  <a:ext uri="{FF2B5EF4-FFF2-40B4-BE49-F238E27FC236}">
                    <a16:creationId xmlns:a16="http://schemas.microsoft.com/office/drawing/2014/main" id="{2A090580-89E0-1645-A8D7-66AD02157D5A}"/>
                  </a:ext>
                </a:extLst>
              </p:cNvPr>
              <p:cNvCxnSpPr>
                <a:cxnSpLocks/>
                <a:stCxn id="29" idx="3"/>
                <a:endCxn id="30" idx="1"/>
              </p:cNvCxnSpPr>
              <p:nvPr/>
            </p:nvCxnSpPr>
            <p:spPr>
              <a:xfrm flipV="1">
                <a:off x="2632873" y="2971533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Elbow Connector 32">
                <a:extLst>
                  <a:ext uri="{FF2B5EF4-FFF2-40B4-BE49-F238E27FC236}">
                    <a16:creationId xmlns:a16="http://schemas.microsoft.com/office/drawing/2014/main" id="{BC5DC302-BDC7-2A41-AF42-AAB07DD05B8F}"/>
                  </a:ext>
                </a:extLst>
              </p:cNvPr>
              <p:cNvCxnSpPr>
                <a:cxnSpLocks/>
                <a:stCxn id="29" idx="3"/>
                <a:endCxn id="31" idx="1"/>
              </p:cNvCxnSpPr>
              <p:nvPr/>
            </p:nvCxnSpPr>
            <p:spPr>
              <a:xfrm>
                <a:off x="2632873" y="3169555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ounded Rectangle 33">
                <a:extLst>
                  <a:ext uri="{FF2B5EF4-FFF2-40B4-BE49-F238E27FC236}">
                    <a16:creationId xmlns:a16="http://schemas.microsoft.com/office/drawing/2014/main" id="{FF77D766-E885-1242-BB6B-673EFFE5F549}"/>
                  </a:ext>
                </a:extLst>
              </p:cNvPr>
              <p:cNvSpPr/>
              <p:nvPr/>
            </p:nvSpPr>
            <p:spPr>
              <a:xfrm>
                <a:off x="559718" y="4653930"/>
                <a:ext cx="2073155" cy="684076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rmed Samples</a:t>
                </a:r>
              </a:p>
              <a:p>
                <a:pPr algn="ctr"/>
                <a:r>
                  <a:rPr lang="en-US" sz="1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ock 360</a:t>
                </a:r>
                <a:endParaRPr lang="en-CN" sz="1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" name="Rounded Rectangle 34">
                <a:extLst>
                  <a:ext uri="{FF2B5EF4-FFF2-40B4-BE49-F238E27FC236}">
                    <a16:creationId xmlns:a16="http://schemas.microsoft.com/office/drawing/2014/main" id="{F648B24C-ADB7-4C4A-B17B-1BB5075CBDF6}"/>
                  </a:ext>
                </a:extLst>
              </p:cNvPr>
              <p:cNvSpPr/>
              <p:nvPr/>
            </p:nvSpPr>
            <p:spPr>
              <a:xfrm>
                <a:off x="3440036" y="4653930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 Model</a:t>
                </a:r>
                <a:r>
                  <a:rPr lang="zh-CN" altLang="en-US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14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60</a:t>
                </a:r>
                <a:endParaRPr lang="en-CN" sz="14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" name="Rounded Rectangle 35">
                <a:extLst>
                  <a:ext uri="{FF2B5EF4-FFF2-40B4-BE49-F238E27FC236}">
                    <a16:creationId xmlns:a16="http://schemas.microsoft.com/office/drawing/2014/main" id="{AF8D019E-280F-0940-A4A4-ACBFF5CEC5DE}"/>
                  </a:ext>
                </a:extLst>
              </p:cNvPr>
              <p:cNvSpPr/>
              <p:nvPr/>
            </p:nvSpPr>
            <p:spPr>
              <a:xfrm>
                <a:off x="3440037" y="5049974"/>
                <a:ext cx="1988141" cy="288032"/>
              </a:xfrm>
              <a:prstGeom prst="roundRect">
                <a:avLst>
                  <a:gd name="adj" fmla="val 1025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 </a:t>
                </a:r>
                <a:r>
                  <a:rPr lang="en-US" altLang="zh-CN" sz="1300" b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del 360</a:t>
                </a:r>
                <a:endParaRPr lang="en-CN" sz="1300" b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7" name="Elbow Connector 36">
                <a:extLst>
                  <a:ext uri="{FF2B5EF4-FFF2-40B4-BE49-F238E27FC236}">
                    <a16:creationId xmlns:a16="http://schemas.microsoft.com/office/drawing/2014/main" id="{FF27343A-8364-5C46-9B8A-295A0E3D329C}"/>
                  </a:ext>
                </a:extLst>
              </p:cNvPr>
              <p:cNvCxnSpPr>
                <a:cxnSpLocks/>
                <a:stCxn id="34" idx="3"/>
                <a:endCxn id="35" idx="1"/>
              </p:cNvCxnSpPr>
              <p:nvPr/>
            </p:nvCxnSpPr>
            <p:spPr>
              <a:xfrm flipV="1">
                <a:off x="2632873" y="4797946"/>
                <a:ext cx="807163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Elbow Connector 37">
                <a:extLst>
                  <a:ext uri="{FF2B5EF4-FFF2-40B4-BE49-F238E27FC236}">
                    <a16:creationId xmlns:a16="http://schemas.microsoft.com/office/drawing/2014/main" id="{99E6885C-C6B3-2745-8B72-08D633549C76}"/>
                  </a:ext>
                </a:extLst>
              </p:cNvPr>
              <p:cNvCxnSpPr>
                <a:cxnSpLocks/>
                <a:stCxn id="34" idx="3"/>
                <a:endCxn id="36" idx="1"/>
              </p:cNvCxnSpPr>
              <p:nvPr/>
            </p:nvCxnSpPr>
            <p:spPr>
              <a:xfrm>
                <a:off x="2632873" y="4995968"/>
                <a:ext cx="807164" cy="198022"/>
              </a:xfrm>
              <a:prstGeom prst="bentConnector3">
                <a:avLst>
                  <a:gd name="adj1" fmla="val 50000"/>
                </a:avLst>
              </a:prstGeom>
              <a:ln w="19050" cap="flat">
                <a:solidFill>
                  <a:schemeClr val="bg2"/>
                </a:solidFill>
                <a:prstDash val="dash"/>
                <a:miter lim="800000"/>
                <a:headEnd type="none" w="lg" len="lg"/>
                <a:tailEnd type="stealth" w="lg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Rounded Rectangle 38">
                <a:extLst>
                  <a:ext uri="{FF2B5EF4-FFF2-40B4-BE49-F238E27FC236}">
                    <a16:creationId xmlns:a16="http://schemas.microsoft.com/office/drawing/2014/main" id="{27EA3642-2A30-1F40-91B9-7A16BFDE68AA}"/>
                  </a:ext>
                </a:extLst>
              </p:cNvPr>
              <p:cNvSpPr/>
              <p:nvPr/>
            </p:nvSpPr>
            <p:spPr>
              <a:xfrm>
                <a:off x="559717" y="3726744"/>
                <a:ext cx="4868459" cy="684076"/>
              </a:xfrm>
              <a:prstGeom prst="roundRect">
                <a:avLst/>
              </a:prstGeom>
              <a:noFill/>
              <a:ln w="19050" cap="flat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</a:t>
                </a:r>
                <a:r>
                  <a:rPr lang="en-US" altLang="zh-CN" sz="2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··</a:t>
                </a:r>
                <a:endParaRPr lang="en-CN" sz="20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" name="Rounded Rectangle 39">
                <a:extLst>
                  <a:ext uri="{FF2B5EF4-FFF2-40B4-BE49-F238E27FC236}">
                    <a16:creationId xmlns:a16="http://schemas.microsoft.com/office/drawing/2014/main" id="{F7D2158A-BEB6-314B-93DC-979B199629D9}"/>
                  </a:ext>
                </a:extLst>
              </p:cNvPr>
              <p:cNvSpPr/>
              <p:nvPr/>
            </p:nvSpPr>
            <p:spPr>
              <a:xfrm>
                <a:off x="6932426" y="1737606"/>
                <a:ext cx="2592288" cy="3600400"/>
              </a:xfrm>
              <a:prstGeom prst="roundRect">
                <a:avLst>
                  <a:gd name="adj" fmla="val 0"/>
                </a:avLst>
              </a:prstGeom>
              <a:noFill/>
              <a:ln w="19050" cap="flat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oth </a:t>
                </a:r>
                <a:r>
                  <a:rPr lang="en-US" sz="20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egression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:r>
                  <a:rPr lang="en-US" sz="2000" b="1" dirty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assification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models have a </a:t>
                </a:r>
                <a:r>
                  <a:rPr lang="en-US" sz="2000" b="1" i="1" dirty="0">
                    <a:solidFill>
                      <a:srgbClr val="9B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rger number of parameters </a:t>
                </a:r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an the training sample data.</a:t>
                </a:r>
              </a:p>
              <a:p>
                <a:endParaRPr 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sz="20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y are theoretically able to memorize data !</a:t>
                </a:r>
                <a:endParaRPr lang="en-CN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" name="Chevron 40">
                <a:extLst>
                  <a:ext uri="{FF2B5EF4-FFF2-40B4-BE49-F238E27FC236}">
                    <a16:creationId xmlns:a16="http://schemas.microsoft.com/office/drawing/2014/main" id="{8A428BFB-F411-BB49-BFDD-16C1350C728D}"/>
                  </a:ext>
                </a:extLst>
              </p:cNvPr>
              <p:cNvSpPr/>
              <p:nvPr/>
            </p:nvSpPr>
            <p:spPr>
              <a:xfrm>
                <a:off x="5535327" y="1881622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Chevron 44">
                <a:extLst>
                  <a:ext uri="{FF2B5EF4-FFF2-40B4-BE49-F238E27FC236}">
                    <a16:creationId xmlns:a16="http://schemas.microsoft.com/office/drawing/2014/main" id="{105B5AFF-7455-1F41-9EFD-F2EBC3745C5D}"/>
                  </a:ext>
                </a:extLst>
              </p:cNvPr>
              <p:cNvSpPr/>
              <p:nvPr/>
            </p:nvSpPr>
            <p:spPr>
              <a:xfrm>
                <a:off x="5535327" y="2971533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Chevron 46">
                <a:extLst>
                  <a:ext uri="{FF2B5EF4-FFF2-40B4-BE49-F238E27FC236}">
                    <a16:creationId xmlns:a16="http://schemas.microsoft.com/office/drawing/2014/main" id="{0BD7E554-152E-4648-BA47-9EB8E86586BC}"/>
                  </a:ext>
                </a:extLst>
              </p:cNvPr>
              <p:cNvSpPr/>
              <p:nvPr/>
            </p:nvSpPr>
            <p:spPr>
              <a:xfrm>
                <a:off x="5535327" y="4797946"/>
                <a:ext cx="345973" cy="396044"/>
              </a:xfrm>
              <a:prstGeom prst="chevron">
                <a:avLst/>
              </a:prstGeom>
              <a:solidFill>
                <a:schemeClr val="tx1"/>
              </a:solidFill>
              <a:ln w="12700" cap="flat">
                <a:solidFill>
                  <a:schemeClr val="tx1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CN" sz="1400" dirty="0" err="1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Rounded Rectangle 47">
                <a:extLst>
                  <a:ext uri="{FF2B5EF4-FFF2-40B4-BE49-F238E27FC236}">
                    <a16:creationId xmlns:a16="http://schemas.microsoft.com/office/drawing/2014/main" id="{8321C8B6-0387-014E-B050-CE902FA6F52A}"/>
                  </a:ext>
                </a:extLst>
              </p:cNvPr>
              <p:cNvSpPr/>
              <p:nvPr/>
            </p:nvSpPr>
            <p:spPr>
              <a:xfrm>
                <a:off x="5988448" y="1737606"/>
                <a:ext cx="691947" cy="3600400"/>
              </a:xfrm>
              <a:prstGeom prst="roundRect">
                <a:avLst>
                  <a:gd name="adj" fmla="val 10252"/>
                </a:avLst>
              </a:prstGeom>
              <a:solidFill>
                <a:schemeClr val="bg2">
                  <a:lumMod val="20000"/>
                  <a:lumOff val="80000"/>
                </a:schemeClr>
              </a:solidFill>
              <a:ln w="19050" cap="flat">
                <a:solidFill>
                  <a:schemeClr val="tx1"/>
                </a:solidFill>
                <a:prstDash val="dash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zh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0%</a:t>
                </a:r>
              </a:p>
              <a:p>
                <a:pPr algn="ctr"/>
                <a:endParaRPr lang="en-CN" sz="1400" b="1" i="1" dirty="0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/>
                <a:r>
                  <a: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1 </a:t>
                </a:r>
              </a:p>
              <a:p>
                <a:pPr algn="ctr"/>
                <a:r>
                  <a:rPr lang="en-CN" sz="1400" b="1" i="1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&amp; ACC</a:t>
                </a:r>
              </a:p>
            </p:txBody>
          </p:sp>
        </p:grpSp>
        <p:sp>
          <p:nvSpPr>
            <p:cNvPr id="50" name="文本占位符 8">
              <a:extLst>
                <a:ext uri="{FF2B5EF4-FFF2-40B4-BE49-F238E27FC236}">
                  <a16:creationId xmlns:a16="http://schemas.microsoft.com/office/drawing/2014/main" id="{201D0A5E-BA27-344A-8C5D-3B9786F8C8EE}"/>
                </a:ext>
              </a:extLst>
            </p:cNvPr>
            <p:cNvSpPr txBox="1">
              <a:spLocks/>
            </p:cNvSpPr>
            <p:nvPr/>
          </p:nvSpPr>
          <p:spPr>
            <a:xfrm>
              <a:off x="1636574" y="5636119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</a:t>
              </a:r>
              <a:r>
                <a:rPr lang="en-US" altLang="zh-CN" sz="1400" b="1" dirty="0"/>
                <a:t>5</a:t>
              </a:r>
              <a:r>
                <a:rPr lang="en-US" sz="1400" b="1" dirty="0"/>
                <a:t>. </a:t>
              </a:r>
              <a:r>
                <a:rPr lang="en-US" sz="1400" dirty="0"/>
                <a:t>Theoretically perfect way of </a:t>
              </a:r>
              <a:r>
                <a:rPr lang="en-US" altLang="zh-CN" sz="1400" dirty="0"/>
                <a:t>In-Sample </a:t>
              </a:r>
              <a:r>
                <a:rPr lang="en-US" sz="1400" dirty="0"/>
                <a:t>modeling.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8158966E-A35C-F541-8A35-AAB4F4E0D1D2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y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is no perfect ACC and F1 when use Regression Modeling ?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1704629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</a:t>
            </a:r>
            <a:r>
              <a:rPr lang="en-US" altLang="zh-CN" dirty="0"/>
              <a:t>”Perfect” </a:t>
            </a:r>
            <a:r>
              <a:rPr lang="en-US" dirty="0"/>
              <a:t>Modeling Resul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5C988B-64E8-8A40-9752-EB46356685D2}"/>
              </a:ext>
            </a:extLst>
          </p:cNvPr>
          <p:cNvGrpSpPr/>
          <p:nvPr/>
        </p:nvGrpSpPr>
        <p:grpSpPr>
          <a:xfrm>
            <a:off x="-1650" y="909514"/>
            <a:ext cx="9906063" cy="5403992"/>
            <a:chOff x="0" y="1030030"/>
            <a:chExt cx="9906063" cy="540399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6D409A6-63CE-EC48-9264-02174E835F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35" y="1399362"/>
              <a:ext cx="4783331" cy="1986670"/>
            </a:xfrm>
            <a:prstGeom prst="rect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D4BDCBE-8365-484B-A2D2-14B2FBED471C}"/>
                </a:ext>
              </a:extLst>
            </p:cNvPr>
            <p:cNvSpPr txBox="1"/>
            <p:nvPr/>
          </p:nvSpPr>
          <p:spPr>
            <a:xfrm>
              <a:off x="746884" y="3473557"/>
              <a:ext cx="3439724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96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96</a:t>
              </a: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AE6A2EF-EC8E-AE48-BB13-459CF5DC0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35" y="3754981"/>
              <a:ext cx="4783331" cy="1986670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182AEFA-567A-BC42-822A-22D1B79B6E0A}"/>
                </a:ext>
              </a:extLst>
            </p:cNvPr>
            <p:cNvSpPr txBox="1"/>
            <p:nvPr/>
          </p:nvSpPr>
          <p:spPr>
            <a:xfrm>
              <a:off x="0" y="1030030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00009.</a:t>
              </a:r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</a:t>
              </a:r>
              <a:endParaRPr lang="en-CN" sz="1800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230DDCA-07FD-B040-AD68-A3401B2D8626}"/>
                </a:ext>
              </a:extLst>
            </p:cNvPr>
            <p:cNvSpPr txBox="1"/>
            <p:nvPr/>
          </p:nvSpPr>
          <p:spPr>
            <a:xfrm>
              <a:off x="669106" y="5829176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1.00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1.00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C2500AA-E28D-6349-A952-F977244DB6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45" y="3754981"/>
              <a:ext cx="4783332" cy="1986670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99B64E2-2D2E-2240-98C6-364CAAB7DED9}"/>
                </a:ext>
              </a:extLst>
            </p:cNvPr>
            <p:cNvSpPr txBox="1"/>
            <p:nvPr/>
          </p:nvSpPr>
          <p:spPr>
            <a:xfrm>
              <a:off x="4957359" y="1030030"/>
              <a:ext cx="4948704" cy="36933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00021.</a:t>
              </a:r>
              <a:r>
                <a:rPr lang="en-US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CN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z</a:t>
              </a:r>
              <a:endParaRPr lang="en-CN" sz="1800" dirty="0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6DC1A24-E288-AA4E-B379-88D85BA86E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0045" y="1399362"/>
              <a:ext cx="4783332" cy="1986670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24CCAC0-1DA9-384C-93CC-56CB56B2F855}"/>
                </a:ext>
              </a:extLst>
            </p:cNvPr>
            <p:cNvSpPr txBox="1"/>
            <p:nvPr/>
          </p:nvSpPr>
          <p:spPr>
            <a:xfrm>
              <a:off x="5734291" y="3473557"/>
              <a:ext cx="339484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gression Modeling: ACC = </a:t>
              </a:r>
              <a:r>
                <a:rPr lang="en-CN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0.99, </a:t>
              </a:r>
              <a:r>
                <a:rPr lang="en-US" sz="1400" b="1" dirty="0">
                  <a:solidFill>
                    <a:schemeClr val="tx2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0.99</a:t>
              </a:r>
              <a:endParaRPr lang="en-CN" sz="14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B8E197BD-FE8A-CC45-8C8C-0CB7F57AF389}"/>
                </a:ext>
              </a:extLst>
            </p:cNvPr>
            <p:cNvSpPr txBox="1"/>
            <p:nvPr/>
          </p:nvSpPr>
          <p:spPr>
            <a:xfrm>
              <a:off x="5640029" y="5829176"/>
              <a:ext cx="3595280" cy="19389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</a:pPr>
              <a:r>
                <a:rPr lang="en-CN" sz="1400" b="1" dirty="0">
                  <a:solidFill>
                    <a:schemeClr val="accent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lassification Modeling: ACC = 1.00</a:t>
              </a:r>
              <a:r>
                <a:rPr lang="en-CN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n-US" sz="1400" b="1" dirty="0">
                  <a:solidFill>
                    <a:schemeClr val="accent1"/>
                  </a:solidFill>
                  <a:effectLst/>
                  <a:latin typeface="Times New Roman" panose="02020603050405020304" pitchFamily="18" charset="0"/>
                  <a:cs typeface="Times New Roman" panose="02020603050405020304" pitchFamily="18" charset="0"/>
                </a:rPr>
                <a:t>F1 = 1.00</a:t>
              </a:r>
              <a:endParaRPr lang="en-CN" sz="14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文本占位符 8">
              <a:extLst>
                <a:ext uri="{FF2B5EF4-FFF2-40B4-BE49-F238E27FC236}">
                  <a16:creationId xmlns:a16="http://schemas.microsoft.com/office/drawing/2014/main" id="{3667F39F-238B-6D4C-858A-0076F4B30BAD}"/>
                </a:ext>
              </a:extLst>
            </p:cNvPr>
            <p:cNvSpPr txBox="1">
              <a:spLocks/>
            </p:cNvSpPr>
            <p:nvPr/>
          </p:nvSpPr>
          <p:spPr>
            <a:xfrm>
              <a:off x="1633072" y="6218578"/>
              <a:ext cx="6631264" cy="21544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57925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bg2"/>
                </a:buClr>
                <a:buSzPct val="100000"/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1pPr>
              <a:lvl2pPr marL="191585" indent="0" algn="l" defTabSz="957925" rtl="0" eaLnBrk="1" latinLnBrk="0" hangingPunct="1">
                <a:lnSpc>
                  <a:spcPct val="90000"/>
                </a:lnSpc>
                <a:spcBef>
                  <a:spcPts val="943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2pPr>
              <a:lvl3pPr marL="338624" indent="0" algn="l" defTabSz="957925" rtl="0" eaLnBrk="1" latinLnBrk="0" hangingPunct="1">
                <a:lnSpc>
                  <a:spcPct val="90000"/>
                </a:lnSpc>
                <a:spcBef>
                  <a:spcPts val="629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3pPr>
              <a:lvl4pPr marL="535156" indent="0" algn="l" defTabSz="957925" rtl="0" eaLnBrk="1" latinLnBrk="0" hangingPunct="1">
                <a:lnSpc>
                  <a:spcPct val="90000"/>
                </a:lnSpc>
                <a:spcBef>
                  <a:spcPts val="210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4pPr>
              <a:lvl5pPr marL="686388" indent="0" algn="l" defTabSz="957925" rtl="0" eaLnBrk="1" latinLnBrk="0" hangingPunct="1">
                <a:lnSpc>
                  <a:spcPct val="90000"/>
                </a:lnSpc>
                <a:spcBef>
                  <a:spcPts val="105"/>
                </a:spcBef>
                <a:buClr>
                  <a:schemeClr val="bg2"/>
                </a:buClr>
                <a:buFont typeface="Arial" pitchFamily="34" charset="0"/>
                <a:buNone/>
                <a:defRPr sz="1000" kern="1200">
                  <a:solidFill>
                    <a:schemeClr val="tx1"/>
                  </a:solidFill>
                  <a:latin typeface="Palatino Linotype" panose="02040502050505030304" pitchFamily="18" charset="0"/>
                  <a:ea typeface="+mn-ea"/>
                  <a:cs typeface="Arial" pitchFamily="34" charset="0"/>
                </a:defRPr>
              </a:lvl5pPr>
              <a:lvl6pPr marL="2634295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13258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92220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1183" indent="-239481" algn="l" defTabSz="957925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1400" b="1" dirty="0"/>
                <a:t>Fig 5. </a:t>
              </a:r>
              <a:r>
                <a:rPr lang="en-US" sz="1400" dirty="0"/>
                <a:t>In</a:t>
              </a:r>
              <a:r>
                <a:rPr lang="en-US" altLang="zh-CN" sz="1400" dirty="0"/>
                <a:t>-Sample Modeling Result. We got the theoretically “perfect” result.</a:t>
              </a:r>
              <a:endParaRPr lang="en-US" sz="1400" dirty="0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9BACE30E-8EAC-AA42-9075-0D7ECE2EDDFB}"/>
              </a:ext>
            </a:extLst>
          </p:cNvPr>
          <p:cNvSpPr txBox="1"/>
          <p:nvPr/>
        </p:nvSpPr>
        <p:spPr>
          <a:xfrm>
            <a:off x="1560655" y="6454130"/>
            <a:ext cx="6772798" cy="369332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y</a:t>
            </a:r>
            <a:r>
              <a:rPr lang="zh-CN" altLang="en-US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800" b="1" i="1" dirty="0">
                <a:solidFill>
                  <a:srgbClr val="9B171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is no perfect ACC and F1 when use Regression Modeling ?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435748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1 In-Sample Overall Stocks</a:t>
            </a:r>
            <a:r>
              <a:rPr lang="en-US" altLang="zh-CN" dirty="0"/>
              <a:t> </a:t>
            </a:r>
            <a:r>
              <a:rPr lang="en-US" dirty="0"/>
              <a:t>Modeling Result</a:t>
            </a:r>
          </a:p>
        </p:txBody>
      </p:sp>
    </p:spTree>
    <p:extLst>
      <p:ext uri="{BB962C8B-B14F-4D97-AF65-F5344CB8AC3E}">
        <p14:creationId xmlns:p14="http://schemas.microsoft.com/office/powerpoint/2010/main" val="2387999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3.2.</a:t>
            </a:r>
            <a:r>
              <a:rPr lang="en-US" altLang="zh-CN" dirty="0"/>
              <a:t>2</a:t>
            </a:r>
            <a:r>
              <a:rPr lang="en-US" dirty="0"/>
              <a:t> Out-Sample Stocks</a:t>
            </a:r>
            <a:r>
              <a:rPr lang="en-US" altLang="zh-CN" dirty="0"/>
              <a:t> </a:t>
            </a:r>
            <a:r>
              <a:rPr lang="en-US" dirty="0"/>
              <a:t>Modeling Progress</a:t>
            </a:r>
          </a:p>
        </p:txBody>
      </p:sp>
    </p:spTree>
    <p:extLst>
      <p:ext uri="{BB962C8B-B14F-4D97-AF65-F5344CB8AC3E}">
        <p14:creationId xmlns:p14="http://schemas.microsoft.com/office/powerpoint/2010/main" val="29723212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5" y="3236608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3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5" y="4274141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3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5" y="5311673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3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5" y="2199075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3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3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5" y="1161542"/>
            <a:ext cx="898583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e_StvbU.2ilUxqenA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cPrvkp_UCfZYpSZBzB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Z3SNMPPUSNJA6Vwr0Y9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Nf7TywYECbF3xX2Dj5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USL.Teekq.TV4MG7by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Nq6wuekGDUwGSKZAF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5RZ1ne.UCkFBJ_aCWG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t5Ggp5jUyoj6gjF7SQ4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oevLBHLkGZYGPTuSRN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poEi9l3kWlW_S6SCF.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YT0hR6.0SvUx6BnT90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J97binx0i5J8UPOr93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.TakVrDUWbKSwDbZGp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Q4iBO9pEmQU7xMrr1l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NFgm0yKEuM.gZWhN5E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LseO1dUSWP8cEAzlL2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jsJ7jS4E.l9wBVV1gy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_6dwvEyE.1sfTYE6fu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44</Words>
  <Application>Microsoft Macintosh PowerPoint</Application>
  <PresentationFormat>Custom</PresentationFormat>
  <Paragraphs>382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-apple-system</vt:lpstr>
      <vt:lpstr>等线</vt:lpstr>
      <vt:lpstr>华文楷体</vt:lpstr>
      <vt:lpstr>Arial</vt:lpstr>
      <vt:lpstr>Calibri</vt:lpstr>
      <vt:lpstr>Palatino Linotype</vt:lpstr>
      <vt:lpstr>Times New Roman</vt:lpstr>
      <vt:lpstr>Vrinda</vt:lpstr>
      <vt:lpstr>CR Onlytext</vt:lpstr>
      <vt:lpstr>think-cell Slide</vt:lpstr>
      <vt:lpstr>Data Analysis Project 1.</vt:lpstr>
      <vt:lpstr>Data Analysis Framework</vt:lpstr>
      <vt:lpstr>3.1 Select &amp; Normalize</vt:lpstr>
      <vt:lpstr>3.2 In-Sample &amp; Out-Sample Modeling</vt:lpstr>
      <vt:lpstr>3.2.1 In-Sample ”Perfect” Modeling Method</vt:lpstr>
      <vt:lpstr>3.2.1 In-Sample ”Perfect” Modeling Result</vt:lpstr>
      <vt:lpstr>3.2.1 In-Sample Overall Stocks Modeling Result</vt:lpstr>
      <vt:lpstr>3.2.2 Out-Sample Stocks Modeling Progress</vt:lpstr>
      <vt:lpstr>Text boxes – two columns of numbered points for each point</vt:lpstr>
      <vt:lpstr>Text boxes – two columns of numbered points for each point</vt:lpstr>
      <vt:lpstr>Text boxes – two ways of showing major points</vt:lpstr>
      <vt:lpstr>Text boxes – major points with chevrons</vt:lpstr>
      <vt:lpstr>Text boxes – chevrons with text boxes</vt:lpstr>
      <vt:lpstr>Text boxes – vertical chevrons with text</vt:lpstr>
      <vt:lpstr>Text blocks – two squares</vt:lpstr>
      <vt:lpstr>Text blocks – sources leading to</vt:lpstr>
      <vt:lpstr>Logic trees – executive summary tree</vt:lpstr>
      <vt:lpstr>Steps – two</vt:lpstr>
      <vt:lpstr>Steps – th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1T09:42:51Z</dcterms:modified>
  <cp:version>112013</cp:version>
</cp:coreProperties>
</file>